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16"/>
  </p:notesMasterIdLst>
  <p:handoutMasterIdLst>
    <p:handoutMasterId r:id="rId17"/>
  </p:handoutMasterIdLst>
  <p:sldIdLst>
    <p:sldId id="256" r:id="rId3"/>
    <p:sldId id="381" r:id="rId4"/>
    <p:sldId id="317" r:id="rId5"/>
    <p:sldId id="380" r:id="rId6"/>
    <p:sldId id="353" r:id="rId7"/>
    <p:sldId id="372" r:id="rId8"/>
    <p:sldId id="374" r:id="rId9"/>
    <p:sldId id="375" r:id="rId10"/>
    <p:sldId id="379" r:id="rId11"/>
    <p:sldId id="376" r:id="rId12"/>
    <p:sldId id="378" r:id="rId13"/>
    <p:sldId id="377" r:id="rId14"/>
    <p:sldId id="261" r:id="rId1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045"/>
    <p:restoredTop sz="88880"/>
  </p:normalViewPr>
  <p:slideViewPr>
    <p:cSldViewPr snapToGrid="0">
      <p:cViewPr varScale="1">
        <p:scale>
          <a:sx n="198" d="100"/>
          <a:sy n="198" d="100"/>
        </p:scale>
        <p:origin x="110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Last time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Simulation</a:t>
          </a:r>
          <a:r>
            <a:rPr lang="en-US" sz="2400" b="1" dirty="0">
              <a:solidFill>
                <a:schemeClr val="tx1"/>
              </a:solidFill>
            </a:rPr>
            <a:t> </a:t>
          </a:r>
          <a:r>
            <a:rPr lang="en-US" sz="2400" b="1" dirty="0">
              <a:solidFill>
                <a:schemeClr val="bg1"/>
              </a:solidFill>
            </a:rPr>
            <a:t>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C57865FB-E721-7945-B102-3DC33349270D}">
      <dgm:prSet custT="1"/>
      <dgm:spPr/>
      <dgm:t>
        <a:bodyPr/>
        <a:lstStyle/>
        <a:p>
          <a:r>
            <a:rPr lang="en-US" altLang="zh-CN" sz="2400" b="0" dirty="0">
              <a:solidFill>
                <a:schemeClr val="bg1"/>
              </a:solidFill>
            </a:rPr>
            <a:t>Next step</a:t>
          </a:r>
          <a:endParaRPr lang="zh-CN" altLang="en-US" sz="2400" b="0" dirty="0">
            <a:solidFill>
              <a:schemeClr val="bg1"/>
            </a:solidFill>
          </a:endParaRPr>
        </a:p>
      </dgm:t>
    </dgm:pt>
    <dgm:pt modelId="{9A35DC86-DC17-154F-B1AF-0AC1F2759487}" type="parTrans" cxnId="{037024FE-D194-2B4E-A276-D8CC4660EBA8}">
      <dgm:prSet/>
      <dgm:spPr/>
      <dgm:t>
        <a:bodyPr/>
        <a:lstStyle/>
        <a:p>
          <a:endParaRPr lang="zh-CN" altLang="en-US"/>
        </a:p>
      </dgm:t>
    </dgm:pt>
    <dgm:pt modelId="{C576F9F8-F2BD-FF42-8A4C-B1C10B4A8948}" type="sibTrans" cxnId="{037024FE-D194-2B4E-A276-D8CC4660EBA8}">
      <dgm:prSet/>
      <dgm:spPr/>
      <dgm:t>
        <a:bodyPr/>
        <a:lstStyle/>
        <a:p>
          <a:endParaRPr lang="zh-CN" altLang="en-US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3"/>
      <dgm:spPr/>
    </dgm:pt>
    <dgm:pt modelId="{4DE260E5-B794-E44D-9A9E-F4D646D8E5A7}" type="pres">
      <dgm:prSet presAssocID="{D0F52225-D323-4805-89C5-374A5AABBCCB}" presName="parentText" presStyleLbl="node1" presStyleIdx="0" presStyleCnt="3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3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3"/>
      <dgm:spPr/>
    </dgm:pt>
    <dgm:pt modelId="{B6A18748-4148-D347-BCCA-B76C98FAD828}" type="pres">
      <dgm:prSet presAssocID="{8093CCB2-55DC-4C87-97D5-8D34688771A4}" presName="parentText" presStyleLbl="node1" presStyleIdx="1" presStyleCnt="3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3">
        <dgm:presLayoutVars>
          <dgm:bulletEnabled val="1"/>
        </dgm:presLayoutVars>
      </dgm:prSet>
      <dgm:spPr/>
    </dgm:pt>
    <dgm:pt modelId="{415E2F08-92B7-214A-8A08-7681F11E3C3C}" type="pres">
      <dgm:prSet presAssocID="{F21521B6-AC66-4DDA-9A93-EEAD2430B253}" presName="spaceBetweenRectangles" presStyleCnt="0"/>
      <dgm:spPr/>
    </dgm:pt>
    <dgm:pt modelId="{E5EBF621-431F-2040-9E07-972112987871}" type="pres">
      <dgm:prSet presAssocID="{C57865FB-E721-7945-B102-3DC33349270D}" presName="parentLin" presStyleCnt="0"/>
      <dgm:spPr/>
    </dgm:pt>
    <dgm:pt modelId="{65084150-2F68-C141-8C2B-24AF60D18C12}" type="pres">
      <dgm:prSet presAssocID="{C57865FB-E721-7945-B102-3DC33349270D}" presName="parentLeftMargin" presStyleLbl="node1" presStyleIdx="1" presStyleCnt="3"/>
      <dgm:spPr/>
    </dgm:pt>
    <dgm:pt modelId="{78AE5B93-8DEE-704B-86F8-D2CF2AA0493D}" type="pres">
      <dgm:prSet presAssocID="{C57865FB-E721-7945-B102-3DC33349270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B6686C0D-63B6-1C4D-8CBC-1E8ED6E354C9}" type="pres">
      <dgm:prSet presAssocID="{C57865FB-E721-7945-B102-3DC33349270D}" presName="negativeSpace" presStyleCnt="0"/>
      <dgm:spPr/>
    </dgm:pt>
    <dgm:pt modelId="{5A72D70B-95A3-FE4A-9803-85FD746B2080}" type="pres">
      <dgm:prSet presAssocID="{C57865FB-E721-7945-B102-3DC33349270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7DBF5911-B5DB-2746-B406-0CD9014D7775}" type="presOf" srcId="{C57865FB-E721-7945-B102-3DC33349270D}" destId="{65084150-2F68-C141-8C2B-24AF60D18C12}" srcOrd="0" destOrd="0" presId="urn:microsoft.com/office/officeart/2005/8/layout/list1"/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AE1CDEE2-536C-0145-A908-7A019D126BAF}" type="presOf" srcId="{C57865FB-E721-7945-B102-3DC33349270D}" destId="{78AE5B93-8DEE-704B-86F8-D2CF2AA0493D}" srcOrd="1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037024FE-D194-2B4E-A276-D8CC4660EBA8}" srcId="{07C71F93-A4DB-4FC6-87BB-FBF82839AB91}" destId="{C57865FB-E721-7945-B102-3DC33349270D}" srcOrd="2" destOrd="0" parTransId="{9A35DC86-DC17-154F-B1AF-0AC1F2759487}" sibTransId="{C576F9F8-F2BD-FF42-8A4C-B1C10B4A8948}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  <dgm:cxn modelId="{E2B85E6B-EAA8-EA4D-B554-4197A860A2BA}" type="presParOf" srcId="{95FEDCAD-8145-3649-B402-FC9EF335529F}" destId="{415E2F08-92B7-214A-8A08-7681F11E3C3C}" srcOrd="7" destOrd="0" presId="urn:microsoft.com/office/officeart/2005/8/layout/list1"/>
    <dgm:cxn modelId="{695A3246-0C7E-5F43-A816-D544D5CA4EDF}" type="presParOf" srcId="{95FEDCAD-8145-3649-B402-FC9EF335529F}" destId="{E5EBF621-431F-2040-9E07-972112987871}" srcOrd="8" destOrd="0" presId="urn:microsoft.com/office/officeart/2005/8/layout/list1"/>
    <dgm:cxn modelId="{7F445E3A-49A7-014A-97CF-5F36A5C49285}" type="presParOf" srcId="{E5EBF621-431F-2040-9E07-972112987871}" destId="{65084150-2F68-C141-8C2B-24AF60D18C12}" srcOrd="0" destOrd="0" presId="urn:microsoft.com/office/officeart/2005/8/layout/list1"/>
    <dgm:cxn modelId="{FF95F732-05A5-C845-A33F-B6C918B78F8B}" type="presParOf" srcId="{E5EBF621-431F-2040-9E07-972112987871}" destId="{78AE5B93-8DEE-704B-86F8-D2CF2AA0493D}" srcOrd="1" destOrd="0" presId="urn:microsoft.com/office/officeart/2005/8/layout/list1"/>
    <dgm:cxn modelId="{33819322-70A7-5941-B7CE-625FB3A56B6E}" type="presParOf" srcId="{95FEDCAD-8145-3649-B402-FC9EF335529F}" destId="{B6686C0D-63B6-1C4D-8CBC-1E8ED6E354C9}" srcOrd="9" destOrd="0" presId="urn:microsoft.com/office/officeart/2005/8/layout/list1"/>
    <dgm:cxn modelId="{B2AEBA68-0DDC-2041-9C53-4F0CD8239C1D}" type="presParOf" srcId="{95FEDCAD-8145-3649-B402-FC9EF335529F}" destId="{5A72D70B-95A3-FE4A-9803-85FD746B208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C57865FB-E721-7945-B102-3DC33349270D}">
      <dgm:prSet custT="1"/>
      <dgm:spPr/>
      <dgm:t>
        <a:bodyPr/>
        <a:lstStyle/>
        <a:p>
          <a:r>
            <a:rPr lang="en-US" altLang="zh-CN" sz="2400" b="0" dirty="0">
              <a:solidFill>
                <a:schemeClr val="bg1"/>
              </a:solidFill>
            </a:rPr>
            <a:t>Next step</a:t>
          </a:r>
          <a:endParaRPr lang="zh-CN" altLang="en-US" sz="2400" b="0" dirty="0">
            <a:solidFill>
              <a:schemeClr val="bg1"/>
            </a:solidFill>
          </a:endParaRPr>
        </a:p>
      </dgm:t>
    </dgm:pt>
    <dgm:pt modelId="{9A35DC86-DC17-154F-B1AF-0AC1F2759487}" type="parTrans" cxnId="{037024FE-D194-2B4E-A276-D8CC4660EBA8}">
      <dgm:prSet/>
      <dgm:spPr/>
      <dgm:t>
        <a:bodyPr/>
        <a:lstStyle/>
        <a:p>
          <a:endParaRPr lang="zh-CN" altLang="en-US"/>
        </a:p>
      </dgm:t>
    </dgm:pt>
    <dgm:pt modelId="{C576F9F8-F2BD-FF42-8A4C-B1C10B4A8948}" type="sibTrans" cxnId="{037024FE-D194-2B4E-A276-D8CC4660EBA8}">
      <dgm:prSet/>
      <dgm:spPr/>
      <dgm:t>
        <a:bodyPr/>
        <a:lstStyle/>
        <a:p>
          <a:endParaRPr lang="zh-CN" altLang="en-US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3"/>
      <dgm:spPr/>
    </dgm:pt>
    <dgm:pt modelId="{4DE260E5-B794-E44D-9A9E-F4D646D8E5A7}" type="pres">
      <dgm:prSet presAssocID="{D0F52225-D323-4805-89C5-374A5AABBCCB}" presName="parentText" presStyleLbl="node1" presStyleIdx="0" presStyleCnt="3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3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3"/>
      <dgm:spPr/>
    </dgm:pt>
    <dgm:pt modelId="{B6A18748-4148-D347-BCCA-B76C98FAD828}" type="pres">
      <dgm:prSet presAssocID="{8093CCB2-55DC-4C87-97D5-8D34688771A4}" presName="parentText" presStyleLbl="node1" presStyleIdx="1" presStyleCnt="3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3">
        <dgm:presLayoutVars>
          <dgm:bulletEnabled val="1"/>
        </dgm:presLayoutVars>
      </dgm:prSet>
      <dgm:spPr/>
    </dgm:pt>
    <dgm:pt modelId="{415E2F08-92B7-214A-8A08-7681F11E3C3C}" type="pres">
      <dgm:prSet presAssocID="{F21521B6-AC66-4DDA-9A93-EEAD2430B253}" presName="spaceBetweenRectangles" presStyleCnt="0"/>
      <dgm:spPr/>
    </dgm:pt>
    <dgm:pt modelId="{E5EBF621-431F-2040-9E07-972112987871}" type="pres">
      <dgm:prSet presAssocID="{C57865FB-E721-7945-B102-3DC33349270D}" presName="parentLin" presStyleCnt="0"/>
      <dgm:spPr/>
    </dgm:pt>
    <dgm:pt modelId="{65084150-2F68-C141-8C2B-24AF60D18C12}" type="pres">
      <dgm:prSet presAssocID="{C57865FB-E721-7945-B102-3DC33349270D}" presName="parentLeftMargin" presStyleLbl="node1" presStyleIdx="1" presStyleCnt="3"/>
      <dgm:spPr/>
    </dgm:pt>
    <dgm:pt modelId="{78AE5B93-8DEE-704B-86F8-D2CF2AA0493D}" type="pres">
      <dgm:prSet presAssocID="{C57865FB-E721-7945-B102-3DC33349270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B6686C0D-63B6-1C4D-8CBC-1E8ED6E354C9}" type="pres">
      <dgm:prSet presAssocID="{C57865FB-E721-7945-B102-3DC33349270D}" presName="negativeSpace" presStyleCnt="0"/>
      <dgm:spPr/>
    </dgm:pt>
    <dgm:pt modelId="{5A72D70B-95A3-FE4A-9803-85FD746B2080}" type="pres">
      <dgm:prSet presAssocID="{C57865FB-E721-7945-B102-3DC33349270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7DBF5911-B5DB-2746-B406-0CD9014D7775}" type="presOf" srcId="{C57865FB-E721-7945-B102-3DC33349270D}" destId="{65084150-2F68-C141-8C2B-24AF60D18C12}" srcOrd="0" destOrd="0" presId="urn:microsoft.com/office/officeart/2005/8/layout/list1"/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AE1CDEE2-536C-0145-A908-7A019D126BAF}" type="presOf" srcId="{C57865FB-E721-7945-B102-3DC33349270D}" destId="{78AE5B93-8DEE-704B-86F8-D2CF2AA0493D}" srcOrd="1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037024FE-D194-2B4E-A276-D8CC4660EBA8}" srcId="{07C71F93-A4DB-4FC6-87BB-FBF82839AB91}" destId="{C57865FB-E721-7945-B102-3DC33349270D}" srcOrd="2" destOrd="0" parTransId="{9A35DC86-DC17-154F-B1AF-0AC1F2759487}" sibTransId="{C576F9F8-F2BD-FF42-8A4C-B1C10B4A8948}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  <dgm:cxn modelId="{E2B85E6B-EAA8-EA4D-B554-4197A860A2BA}" type="presParOf" srcId="{95FEDCAD-8145-3649-B402-FC9EF335529F}" destId="{415E2F08-92B7-214A-8A08-7681F11E3C3C}" srcOrd="7" destOrd="0" presId="urn:microsoft.com/office/officeart/2005/8/layout/list1"/>
    <dgm:cxn modelId="{695A3246-0C7E-5F43-A816-D544D5CA4EDF}" type="presParOf" srcId="{95FEDCAD-8145-3649-B402-FC9EF335529F}" destId="{E5EBF621-431F-2040-9E07-972112987871}" srcOrd="8" destOrd="0" presId="urn:microsoft.com/office/officeart/2005/8/layout/list1"/>
    <dgm:cxn modelId="{7F445E3A-49A7-014A-97CF-5F36A5C49285}" type="presParOf" srcId="{E5EBF621-431F-2040-9E07-972112987871}" destId="{65084150-2F68-C141-8C2B-24AF60D18C12}" srcOrd="0" destOrd="0" presId="urn:microsoft.com/office/officeart/2005/8/layout/list1"/>
    <dgm:cxn modelId="{FF95F732-05A5-C845-A33F-B6C918B78F8B}" type="presParOf" srcId="{E5EBF621-431F-2040-9E07-972112987871}" destId="{78AE5B93-8DEE-704B-86F8-D2CF2AA0493D}" srcOrd="1" destOrd="0" presId="urn:microsoft.com/office/officeart/2005/8/layout/list1"/>
    <dgm:cxn modelId="{33819322-70A7-5941-B7CE-625FB3A56B6E}" type="presParOf" srcId="{95FEDCAD-8145-3649-B402-FC9EF335529F}" destId="{B6686C0D-63B6-1C4D-8CBC-1E8ED6E354C9}" srcOrd="9" destOrd="0" presId="urn:microsoft.com/office/officeart/2005/8/layout/list1"/>
    <dgm:cxn modelId="{B2AEBA68-0DDC-2041-9C53-4F0CD8239C1D}" type="presParOf" srcId="{95FEDCAD-8145-3649-B402-FC9EF335529F}" destId="{5A72D70B-95A3-FE4A-9803-85FD746B208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C57865FB-E721-7945-B102-3DC33349270D}">
      <dgm:prSet custT="1"/>
      <dgm:spPr/>
      <dgm:t>
        <a:bodyPr/>
        <a:lstStyle/>
        <a:p>
          <a:r>
            <a:rPr lang="en-US" altLang="zh-CN" sz="2400" b="1" dirty="0">
              <a:solidFill>
                <a:schemeClr val="tx1"/>
              </a:solidFill>
            </a:rPr>
            <a:t>Next step</a:t>
          </a:r>
          <a:endParaRPr lang="zh-CN" altLang="en-US" sz="2400" b="1" dirty="0">
            <a:solidFill>
              <a:schemeClr val="tx1"/>
            </a:solidFill>
          </a:endParaRPr>
        </a:p>
      </dgm:t>
    </dgm:pt>
    <dgm:pt modelId="{9A35DC86-DC17-154F-B1AF-0AC1F2759487}" type="parTrans" cxnId="{037024FE-D194-2B4E-A276-D8CC4660EBA8}">
      <dgm:prSet/>
      <dgm:spPr/>
      <dgm:t>
        <a:bodyPr/>
        <a:lstStyle/>
        <a:p>
          <a:endParaRPr lang="zh-CN" altLang="en-US"/>
        </a:p>
      </dgm:t>
    </dgm:pt>
    <dgm:pt modelId="{C576F9F8-F2BD-FF42-8A4C-B1C10B4A8948}" type="sibTrans" cxnId="{037024FE-D194-2B4E-A276-D8CC4660EBA8}">
      <dgm:prSet/>
      <dgm:spPr/>
      <dgm:t>
        <a:bodyPr/>
        <a:lstStyle/>
        <a:p>
          <a:endParaRPr lang="zh-CN" altLang="en-US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3"/>
      <dgm:spPr/>
    </dgm:pt>
    <dgm:pt modelId="{4DE260E5-B794-E44D-9A9E-F4D646D8E5A7}" type="pres">
      <dgm:prSet presAssocID="{D0F52225-D323-4805-89C5-374A5AABBCCB}" presName="parentText" presStyleLbl="node1" presStyleIdx="0" presStyleCnt="3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3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3"/>
      <dgm:spPr/>
    </dgm:pt>
    <dgm:pt modelId="{B6A18748-4148-D347-BCCA-B76C98FAD828}" type="pres">
      <dgm:prSet presAssocID="{8093CCB2-55DC-4C87-97D5-8D34688771A4}" presName="parentText" presStyleLbl="node1" presStyleIdx="1" presStyleCnt="3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3">
        <dgm:presLayoutVars>
          <dgm:bulletEnabled val="1"/>
        </dgm:presLayoutVars>
      </dgm:prSet>
      <dgm:spPr/>
    </dgm:pt>
    <dgm:pt modelId="{415E2F08-92B7-214A-8A08-7681F11E3C3C}" type="pres">
      <dgm:prSet presAssocID="{F21521B6-AC66-4DDA-9A93-EEAD2430B253}" presName="spaceBetweenRectangles" presStyleCnt="0"/>
      <dgm:spPr/>
    </dgm:pt>
    <dgm:pt modelId="{E5EBF621-431F-2040-9E07-972112987871}" type="pres">
      <dgm:prSet presAssocID="{C57865FB-E721-7945-B102-3DC33349270D}" presName="parentLin" presStyleCnt="0"/>
      <dgm:spPr/>
    </dgm:pt>
    <dgm:pt modelId="{65084150-2F68-C141-8C2B-24AF60D18C12}" type="pres">
      <dgm:prSet presAssocID="{C57865FB-E721-7945-B102-3DC33349270D}" presName="parentLeftMargin" presStyleLbl="node1" presStyleIdx="1" presStyleCnt="3"/>
      <dgm:spPr/>
    </dgm:pt>
    <dgm:pt modelId="{78AE5B93-8DEE-704B-86F8-D2CF2AA0493D}" type="pres">
      <dgm:prSet presAssocID="{C57865FB-E721-7945-B102-3DC33349270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B6686C0D-63B6-1C4D-8CBC-1E8ED6E354C9}" type="pres">
      <dgm:prSet presAssocID="{C57865FB-E721-7945-B102-3DC33349270D}" presName="negativeSpace" presStyleCnt="0"/>
      <dgm:spPr/>
    </dgm:pt>
    <dgm:pt modelId="{5A72D70B-95A3-FE4A-9803-85FD746B2080}" type="pres">
      <dgm:prSet presAssocID="{C57865FB-E721-7945-B102-3DC33349270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7DBF5911-B5DB-2746-B406-0CD9014D7775}" type="presOf" srcId="{C57865FB-E721-7945-B102-3DC33349270D}" destId="{65084150-2F68-C141-8C2B-24AF60D18C12}" srcOrd="0" destOrd="0" presId="urn:microsoft.com/office/officeart/2005/8/layout/list1"/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AE1CDEE2-536C-0145-A908-7A019D126BAF}" type="presOf" srcId="{C57865FB-E721-7945-B102-3DC33349270D}" destId="{78AE5B93-8DEE-704B-86F8-D2CF2AA0493D}" srcOrd="1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037024FE-D194-2B4E-A276-D8CC4660EBA8}" srcId="{07C71F93-A4DB-4FC6-87BB-FBF82839AB91}" destId="{C57865FB-E721-7945-B102-3DC33349270D}" srcOrd="2" destOrd="0" parTransId="{9A35DC86-DC17-154F-B1AF-0AC1F2759487}" sibTransId="{C576F9F8-F2BD-FF42-8A4C-B1C10B4A8948}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  <dgm:cxn modelId="{E2B85E6B-EAA8-EA4D-B554-4197A860A2BA}" type="presParOf" srcId="{95FEDCAD-8145-3649-B402-FC9EF335529F}" destId="{415E2F08-92B7-214A-8A08-7681F11E3C3C}" srcOrd="7" destOrd="0" presId="urn:microsoft.com/office/officeart/2005/8/layout/list1"/>
    <dgm:cxn modelId="{695A3246-0C7E-5F43-A816-D544D5CA4EDF}" type="presParOf" srcId="{95FEDCAD-8145-3649-B402-FC9EF335529F}" destId="{E5EBF621-431F-2040-9E07-972112987871}" srcOrd="8" destOrd="0" presId="urn:microsoft.com/office/officeart/2005/8/layout/list1"/>
    <dgm:cxn modelId="{7F445E3A-49A7-014A-97CF-5F36A5C49285}" type="presParOf" srcId="{E5EBF621-431F-2040-9E07-972112987871}" destId="{65084150-2F68-C141-8C2B-24AF60D18C12}" srcOrd="0" destOrd="0" presId="urn:microsoft.com/office/officeart/2005/8/layout/list1"/>
    <dgm:cxn modelId="{FF95F732-05A5-C845-A33F-B6C918B78F8B}" type="presParOf" srcId="{E5EBF621-431F-2040-9E07-972112987871}" destId="{78AE5B93-8DEE-704B-86F8-D2CF2AA0493D}" srcOrd="1" destOrd="0" presId="urn:microsoft.com/office/officeart/2005/8/layout/list1"/>
    <dgm:cxn modelId="{33819322-70A7-5941-B7CE-625FB3A56B6E}" type="presParOf" srcId="{95FEDCAD-8145-3649-B402-FC9EF335529F}" destId="{B6686C0D-63B6-1C4D-8CBC-1E8ED6E354C9}" srcOrd="9" destOrd="0" presId="urn:microsoft.com/office/officeart/2005/8/layout/list1"/>
    <dgm:cxn modelId="{B2AEBA68-0DDC-2041-9C53-4F0CD8239C1D}" type="presParOf" srcId="{95FEDCAD-8145-3649-B402-FC9EF335529F}" destId="{5A72D70B-95A3-FE4A-9803-85FD746B208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50652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19449"/>
          <a:ext cx="8050859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Last time</a:t>
          </a:r>
        </a:p>
      </dsp:txBody>
      <dsp:txXfrm>
        <a:off x="573335" y="67004"/>
        <a:ext cx="7955749" cy="879050"/>
      </dsp:txXfrm>
    </dsp:sp>
    <dsp:sp modelId="{5CB3B87C-1EFC-DB45-96D0-47D3B8976425}">
      <dsp:nvSpPr>
        <dsp:cNvPr id="0" name=""/>
        <dsp:cNvSpPr/>
      </dsp:nvSpPr>
      <dsp:spPr>
        <a:xfrm>
          <a:off x="0" y="200340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1531662"/>
          <a:ext cx="810106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Simulation</a:t>
          </a:r>
          <a:r>
            <a:rPr lang="en-US" sz="2400" b="1" kern="1200" dirty="0">
              <a:solidFill>
                <a:schemeClr val="tx1"/>
              </a:solidFill>
            </a:rPr>
            <a:t> </a:t>
          </a:r>
          <a:r>
            <a:rPr lang="en-US" sz="2400" b="1" kern="1200" dirty="0">
              <a:solidFill>
                <a:schemeClr val="bg1"/>
              </a:solidFill>
            </a:rPr>
            <a:t>results</a:t>
          </a:r>
        </a:p>
      </dsp:txBody>
      <dsp:txXfrm>
        <a:off x="554159" y="1579217"/>
        <a:ext cx="8005950" cy="879050"/>
      </dsp:txXfrm>
    </dsp:sp>
    <dsp:sp modelId="{5A72D70B-95A3-FE4A-9803-85FD746B2080}">
      <dsp:nvSpPr>
        <dsp:cNvPr id="0" name=""/>
        <dsp:cNvSpPr/>
      </dsp:nvSpPr>
      <dsp:spPr>
        <a:xfrm>
          <a:off x="0" y="350028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AE5B93-8DEE-704B-86F8-D2CF2AA0493D}">
      <dsp:nvSpPr>
        <dsp:cNvPr id="0" name=""/>
        <dsp:cNvSpPr/>
      </dsp:nvSpPr>
      <dsp:spPr>
        <a:xfrm>
          <a:off x="525780" y="3013209"/>
          <a:ext cx="736092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400" b="0" kern="1200" dirty="0">
              <a:solidFill>
                <a:schemeClr val="bg1"/>
              </a:solidFill>
            </a:rPr>
            <a:t>Next step</a:t>
          </a:r>
          <a:endParaRPr lang="zh-CN" altLang="en-US" sz="2400" b="0" kern="1200" dirty="0">
            <a:solidFill>
              <a:schemeClr val="bg1"/>
            </a:solidFill>
          </a:endParaRPr>
        </a:p>
      </dsp:txBody>
      <dsp:txXfrm>
        <a:off x="573335" y="3060764"/>
        <a:ext cx="7265810" cy="87905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50652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19449"/>
          <a:ext cx="8050859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</a:t>
          </a:r>
        </a:p>
      </dsp:txBody>
      <dsp:txXfrm>
        <a:off x="573335" y="67004"/>
        <a:ext cx="7955749" cy="879050"/>
      </dsp:txXfrm>
    </dsp:sp>
    <dsp:sp modelId="{5CB3B87C-1EFC-DB45-96D0-47D3B8976425}">
      <dsp:nvSpPr>
        <dsp:cNvPr id="0" name=""/>
        <dsp:cNvSpPr/>
      </dsp:nvSpPr>
      <dsp:spPr>
        <a:xfrm>
          <a:off x="0" y="200340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1531662"/>
          <a:ext cx="810106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Simulation results</a:t>
          </a:r>
        </a:p>
      </dsp:txBody>
      <dsp:txXfrm>
        <a:off x="554159" y="1579217"/>
        <a:ext cx="8005950" cy="879050"/>
      </dsp:txXfrm>
    </dsp:sp>
    <dsp:sp modelId="{5A72D70B-95A3-FE4A-9803-85FD746B2080}">
      <dsp:nvSpPr>
        <dsp:cNvPr id="0" name=""/>
        <dsp:cNvSpPr/>
      </dsp:nvSpPr>
      <dsp:spPr>
        <a:xfrm>
          <a:off x="0" y="350028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AE5B93-8DEE-704B-86F8-D2CF2AA0493D}">
      <dsp:nvSpPr>
        <dsp:cNvPr id="0" name=""/>
        <dsp:cNvSpPr/>
      </dsp:nvSpPr>
      <dsp:spPr>
        <a:xfrm>
          <a:off x="525780" y="3013209"/>
          <a:ext cx="736092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400" b="0" kern="1200" dirty="0">
              <a:solidFill>
                <a:schemeClr val="bg1"/>
              </a:solidFill>
            </a:rPr>
            <a:t>Next step</a:t>
          </a:r>
          <a:endParaRPr lang="zh-CN" altLang="en-US" sz="2400" b="0" kern="1200" dirty="0">
            <a:solidFill>
              <a:schemeClr val="bg1"/>
            </a:solidFill>
          </a:endParaRPr>
        </a:p>
      </dsp:txBody>
      <dsp:txXfrm>
        <a:off x="573335" y="3060764"/>
        <a:ext cx="7265810" cy="87905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50652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19449"/>
          <a:ext cx="8050859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</a:t>
          </a:r>
        </a:p>
      </dsp:txBody>
      <dsp:txXfrm>
        <a:off x="573335" y="67004"/>
        <a:ext cx="7955749" cy="879050"/>
      </dsp:txXfrm>
    </dsp:sp>
    <dsp:sp modelId="{5CB3B87C-1EFC-DB45-96D0-47D3B8976425}">
      <dsp:nvSpPr>
        <dsp:cNvPr id="0" name=""/>
        <dsp:cNvSpPr/>
      </dsp:nvSpPr>
      <dsp:spPr>
        <a:xfrm>
          <a:off x="0" y="200340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1531662"/>
          <a:ext cx="810106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Simulation results</a:t>
          </a:r>
        </a:p>
      </dsp:txBody>
      <dsp:txXfrm>
        <a:off x="554159" y="1579217"/>
        <a:ext cx="8005950" cy="879050"/>
      </dsp:txXfrm>
    </dsp:sp>
    <dsp:sp modelId="{5A72D70B-95A3-FE4A-9803-85FD746B2080}">
      <dsp:nvSpPr>
        <dsp:cNvPr id="0" name=""/>
        <dsp:cNvSpPr/>
      </dsp:nvSpPr>
      <dsp:spPr>
        <a:xfrm>
          <a:off x="0" y="350028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AE5B93-8DEE-704B-86F8-D2CF2AA0493D}">
      <dsp:nvSpPr>
        <dsp:cNvPr id="0" name=""/>
        <dsp:cNvSpPr/>
      </dsp:nvSpPr>
      <dsp:spPr>
        <a:xfrm>
          <a:off x="525780" y="3013209"/>
          <a:ext cx="736092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400" b="1" kern="1200" dirty="0">
              <a:solidFill>
                <a:schemeClr val="tx1"/>
              </a:solidFill>
            </a:rPr>
            <a:t>Next step</a:t>
          </a:r>
          <a:endParaRPr lang="zh-CN" altLang="en-US" sz="2400" b="1" kern="1200" dirty="0">
            <a:solidFill>
              <a:schemeClr val="tx1"/>
            </a:solidFill>
          </a:endParaRPr>
        </a:p>
      </dsp:txBody>
      <dsp:txXfrm>
        <a:off x="573335" y="3060764"/>
        <a:ext cx="7265810" cy="8790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55563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08693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1439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1332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349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466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4911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43055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99481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15780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7.pn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4" Type="http://schemas.openxmlformats.org/officeDocument/2006/relationships/image" Target="../media/image1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0A76273-2CE1-43EB-D92B-AE83662FFACA}"/>
              </a:ext>
            </a:extLst>
          </p:cNvPr>
          <p:cNvSpPr txBox="1"/>
          <p:nvPr/>
        </p:nvSpPr>
        <p:spPr>
          <a:xfrm>
            <a:off x="669924" y="1225141"/>
            <a:ext cx="108414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The avg GPU power of all epochs is 78.65W, the </a:t>
            </a:r>
            <a:r>
              <a:rPr kumimoji="1" lang="en-US" altLang="zh-CN" dirty="0" err="1"/>
              <a:t>codecarbon</a:t>
            </a:r>
            <a:r>
              <a:rPr kumimoji="1" lang="en-US" altLang="zh-CN" dirty="0"/>
              <a:t> result is 120.88W</a:t>
            </a:r>
          </a:p>
          <a:p>
            <a:r>
              <a:rPr kumimoji="1" lang="en-US" altLang="zh-CN" dirty="0"/>
              <a:t>The GPU energy consumption calculated by </a:t>
            </a:r>
            <a:r>
              <a:rPr kumimoji="1" lang="en-US" altLang="zh-CN" dirty="0" err="1"/>
              <a:t>nvidia-smi</a:t>
            </a:r>
            <a:r>
              <a:rPr kumimoji="1" lang="en-US" altLang="zh-CN" dirty="0"/>
              <a:t> is 0.03275kWh, and 0.05915kWh by </a:t>
            </a:r>
            <a:r>
              <a:rPr kumimoji="1" lang="en-US" altLang="zh-CN" dirty="0" err="1"/>
              <a:t>codecarbon</a:t>
            </a:r>
            <a:endParaRPr kumimoji="1"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FCF66F7-CB24-B59A-11AB-F752C78DBF82}"/>
              </a:ext>
            </a:extLst>
          </p:cNvPr>
          <p:cNvSpPr txBox="1"/>
          <p:nvPr/>
        </p:nvSpPr>
        <p:spPr>
          <a:xfrm>
            <a:off x="669924" y="2004446"/>
            <a:ext cx="74238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Ratio between power result is 78.65/130 = 0.6506</a:t>
            </a:r>
          </a:p>
          <a:p>
            <a:r>
              <a:rPr kumimoji="1" lang="en-US" altLang="zh-CN" dirty="0"/>
              <a:t>Ratio between energy consumption result is 0.03275/0.05915 = 0.5537</a:t>
            </a:r>
            <a:endParaRPr kumimoji="1" lang="zh-CN" altLang="en-US" dirty="0"/>
          </a:p>
        </p:txBody>
      </p:sp>
      <p:pic>
        <p:nvPicPr>
          <p:cNvPr id="11" name="图片 10" descr="图形用户界面, 文本&#10;&#10;描述已自动生成">
            <a:extLst>
              <a:ext uri="{FF2B5EF4-FFF2-40B4-BE49-F238E27FC236}">
                <a16:creationId xmlns:a16="http://schemas.microsoft.com/office/drawing/2014/main" id="{52DC0C0F-33EB-D61E-B66B-95A65C0543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3812573"/>
            <a:ext cx="4229100" cy="2070100"/>
          </a:xfrm>
          <a:prstGeom prst="rect">
            <a:avLst/>
          </a:prstGeom>
        </p:spPr>
      </p:pic>
      <p:cxnSp>
        <p:nvCxnSpPr>
          <p:cNvPr id="13" name="直线连接符 12">
            <a:extLst>
              <a:ext uri="{FF2B5EF4-FFF2-40B4-BE49-F238E27FC236}">
                <a16:creationId xmlns:a16="http://schemas.microsoft.com/office/drawing/2014/main" id="{32773B86-BE32-B421-6E02-7B124BA12490}"/>
              </a:ext>
            </a:extLst>
          </p:cNvPr>
          <p:cNvCxnSpPr/>
          <p:nvPr/>
        </p:nvCxnSpPr>
        <p:spPr>
          <a:xfrm>
            <a:off x="669924" y="3086100"/>
            <a:ext cx="106314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>
            <a:extLst>
              <a:ext uri="{FF2B5EF4-FFF2-40B4-BE49-F238E27FC236}">
                <a16:creationId xmlns:a16="http://schemas.microsoft.com/office/drawing/2014/main" id="{B02FD2E1-006F-DFF0-3A95-6B9D1B7424C9}"/>
              </a:ext>
            </a:extLst>
          </p:cNvPr>
          <p:cNvSpPr txBox="1"/>
          <p:nvPr/>
        </p:nvSpPr>
        <p:spPr>
          <a:xfrm>
            <a:off x="669924" y="3264671"/>
            <a:ext cx="19287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Idle consumption</a:t>
            </a:r>
            <a:endParaRPr kumimoji="1" lang="zh-CN" altLang="en-US" dirty="0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DA9D3A40-3C98-9830-ABC1-2BB095A926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0615" y="3812573"/>
            <a:ext cx="3922713" cy="2324979"/>
          </a:xfrm>
          <a:prstGeom prst="rect">
            <a:avLst/>
          </a:prstGeom>
        </p:spPr>
      </p:pic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C5DDBA85-B6C2-5E11-4B1D-D65AE1ABDFCC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33CD7914-DA8C-F7EC-F67D-63D750C8B09F}"/>
              </a:ext>
            </a:extLst>
          </p:cNvPr>
          <p:cNvSpPr txBox="1"/>
          <p:nvPr/>
        </p:nvSpPr>
        <p:spPr>
          <a:xfrm>
            <a:off x="668182" y="6301368"/>
            <a:ext cx="91951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For GPU energy consumption, concerning the current device that using, </a:t>
            </a:r>
            <a:r>
              <a:rPr kumimoji="1" lang="en-US" altLang="zh-CN" sz="1400" dirty="0" err="1"/>
              <a:t>codecarbon</a:t>
            </a:r>
            <a:r>
              <a:rPr kumimoji="1" lang="en-US" altLang="zh-CN" sz="1400" dirty="0"/>
              <a:t> might not be the best choice</a:t>
            </a:r>
          </a:p>
        </p:txBody>
      </p:sp>
    </p:spTree>
    <p:extLst>
      <p:ext uri="{BB962C8B-B14F-4D97-AF65-F5344CB8AC3E}">
        <p14:creationId xmlns:p14="http://schemas.microsoft.com/office/powerpoint/2010/main" val="1203632395"/>
      </p:ext>
    </p:extLst>
  </p:cSld>
  <p:clrMapOvr>
    <a:masterClrMapping/>
  </p:clrMapOvr>
  <p:transition>
    <p:checke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89008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1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2920477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Next step</a:t>
            </a:r>
            <a:endParaRPr lang="en-US" altLang="zh-CN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DFB11B0C-393E-59B0-57F0-702A0FB9B1BB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8EFE4D6D-5EBC-457C-D13B-E89122835FB4}"/>
              </a:ext>
            </a:extLst>
          </p:cNvPr>
          <p:cNvSpPr txBox="1"/>
          <p:nvPr/>
        </p:nvSpPr>
        <p:spPr>
          <a:xfrm>
            <a:off x="851338" y="1429407"/>
            <a:ext cx="4194795" cy="659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1. Validate CPU energy consumption</a:t>
            </a:r>
          </a:p>
          <a:p>
            <a:r>
              <a:rPr kumimoji="1" lang="en-US" altLang="zh-CN" dirty="0"/>
              <a:t>2. Federated Learning</a:t>
            </a:r>
          </a:p>
        </p:txBody>
      </p:sp>
    </p:spTree>
    <p:extLst>
      <p:ext uri="{BB962C8B-B14F-4D97-AF65-F5344CB8AC3E}">
        <p14:creationId xmlns:p14="http://schemas.microsoft.com/office/powerpoint/2010/main" val="1658663301"/>
      </p:ext>
    </p:extLst>
  </p:cSld>
  <p:clrMapOvr>
    <a:masterClrMapping/>
  </p:clrMapOvr>
  <p:transition>
    <p:check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362794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9211201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rtl="0"/>
            <a:r>
              <a:rPr lang="en-US" altLang="zh-CN" sz="2800" b="1" dirty="0">
                <a:solidFill>
                  <a:schemeClr val="tx1"/>
                </a:solidFill>
              </a:rPr>
              <a:t>Last time</a:t>
            </a:r>
            <a:r>
              <a:rPr lang="zh-CN" altLang="en-US" sz="2800" b="1" dirty="0">
                <a:solidFill>
                  <a:schemeClr val="tx1"/>
                </a:solidFill>
              </a:rPr>
              <a:t> </a:t>
            </a:r>
            <a:endParaRPr lang="en-US" altLang="zh-CN" sz="2800" b="1" dirty="0">
              <a:solidFill>
                <a:schemeClr val="tx1"/>
              </a:solidFill>
            </a:endParaRPr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051253A1-94A4-B8CC-61A8-CBC3C587F269}"/>
              </a:ext>
            </a:extLst>
          </p:cNvPr>
          <p:cNvSpPr txBox="1"/>
          <p:nvPr/>
        </p:nvSpPr>
        <p:spPr>
          <a:xfrm>
            <a:off x="669924" y="1138066"/>
            <a:ext cx="18165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1.to_device() time</a:t>
            </a:r>
            <a:endParaRPr kumimoji="1" lang="zh-CN" altLang="en-US" sz="1600" dirty="0"/>
          </a:p>
        </p:txBody>
      </p:sp>
      <p:pic>
        <p:nvPicPr>
          <p:cNvPr id="6" name="图片 5" descr="文本&#10;&#10;描述已自动生成">
            <a:extLst>
              <a:ext uri="{FF2B5EF4-FFF2-40B4-BE49-F238E27FC236}">
                <a16:creationId xmlns:a16="http://schemas.microsoft.com/office/drawing/2014/main" id="{A7CBC006-1384-CEF6-245F-E3FB3622BE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36" y="1522669"/>
            <a:ext cx="2667000" cy="20574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94479323-32E2-89A0-46D6-A5F5CC0793F5}"/>
              </a:ext>
            </a:extLst>
          </p:cNvPr>
          <p:cNvSpPr txBox="1"/>
          <p:nvPr/>
        </p:nvSpPr>
        <p:spPr>
          <a:xfrm>
            <a:off x="1504967" y="3580069"/>
            <a:ext cx="12353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cpu</a:t>
            </a:r>
            <a:endParaRPr kumimoji="1" lang="en-US" altLang="zh-CN" sz="12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FEC12316-685C-D10F-7580-8872E9F532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4131" y="1522669"/>
            <a:ext cx="2674620" cy="20574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39E52C0B-E3ED-9EE6-1C68-8CB8630E80F3}"/>
              </a:ext>
            </a:extLst>
          </p:cNvPr>
          <p:cNvSpPr txBox="1"/>
          <p:nvPr/>
        </p:nvSpPr>
        <p:spPr>
          <a:xfrm>
            <a:off x="4283772" y="3589859"/>
            <a:ext cx="12786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mps</a:t>
            </a:r>
            <a:endParaRPr kumimoji="1" lang="en-US" altLang="zh-CN" sz="12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C196A68-F7A6-7D65-0FE3-FBFEF690A9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3345" y="1522669"/>
            <a:ext cx="2692400" cy="2057400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625454C6-486E-7854-9589-33B85C5BDA65}"/>
              </a:ext>
            </a:extLst>
          </p:cNvPr>
          <p:cNvSpPr txBox="1"/>
          <p:nvPr/>
        </p:nvSpPr>
        <p:spPr>
          <a:xfrm>
            <a:off x="7180235" y="3589859"/>
            <a:ext cx="1243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gpu</a:t>
            </a:r>
            <a:endParaRPr kumimoji="1" lang="en-US" altLang="zh-CN" sz="1200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DFF9316-C7AC-530A-9104-8BBD4C2DD11E}"/>
              </a:ext>
            </a:extLst>
          </p:cNvPr>
          <p:cNvSpPr txBox="1"/>
          <p:nvPr/>
        </p:nvSpPr>
        <p:spPr>
          <a:xfrm>
            <a:off x="4768745" y="6470288"/>
            <a:ext cx="15872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ulti epoch result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2F4486-F9B1-282B-457A-90D267FAB8B1}"/>
              </a:ext>
            </a:extLst>
          </p:cNvPr>
          <p:cNvSpPr txBox="1"/>
          <p:nvPr/>
        </p:nvSpPr>
        <p:spPr>
          <a:xfrm>
            <a:off x="983910" y="6060351"/>
            <a:ext cx="37176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/>
              <a:t>GPU energy consumption</a:t>
            </a:r>
            <a:r>
              <a:rPr kumimoji="1" lang="en-US" altLang="zh-CN" sz="1000" dirty="0"/>
              <a:t>, train acc and test acc of each epoch</a:t>
            </a:r>
            <a:endParaRPr kumimoji="1" lang="zh-CN" altLang="en-US" sz="1000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87C25A7D-AF2B-52A5-FA0C-2EBD79BB6EB2}"/>
              </a:ext>
            </a:extLst>
          </p:cNvPr>
          <p:cNvSpPr txBox="1"/>
          <p:nvPr/>
        </p:nvSpPr>
        <p:spPr>
          <a:xfrm>
            <a:off x="7307342" y="6060350"/>
            <a:ext cx="320228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US" altLang="zh-CN" sz="1000" dirty="0"/>
              <a:t>GPU energy consumption of epoch(total 20 epochs)</a:t>
            </a:r>
            <a:endParaRPr kumimoji="1" lang="zh-CN" altLang="en-US" sz="1000" dirty="0"/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62BF4695-733C-692E-A34F-459B48ABBB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3690" y="3876648"/>
            <a:ext cx="4017885" cy="2200939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EA81BDB5-7F3B-A06F-B257-AB98A64078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4305" y="3956902"/>
            <a:ext cx="4503561" cy="2118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400778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38904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图片 6" descr="图表, 折线图&#10;&#10;描述已自动生成">
            <a:extLst>
              <a:ext uri="{FF2B5EF4-FFF2-40B4-BE49-F238E27FC236}">
                <a16:creationId xmlns:a16="http://schemas.microsoft.com/office/drawing/2014/main" id="{06CED3BC-CC51-BBB6-F304-33C51DA5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487663"/>
            <a:ext cx="3361570" cy="1842140"/>
          </a:xfrm>
          <a:prstGeom prst="rect">
            <a:avLst/>
          </a:prstGeom>
        </p:spPr>
      </p:pic>
      <p:pic>
        <p:nvPicPr>
          <p:cNvPr id="21" name="图片 20" descr="图表, 折线图&#10;&#10;描述已自动生成">
            <a:extLst>
              <a:ext uri="{FF2B5EF4-FFF2-40B4-BE49-F238E27FC236}">
                <a16:creationId xmlns:a16="http://schemas.microsoft.com/office/drawing/2014/main" id="{EAD1740B-9CF9-F325-4C18-916A222B0F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222" y="1532498"/>
            <a:ext cx="3244234" cy="1797305"/>
          </a:xfrm>
          <a:prstGeom prst="rect">
            <a:avLst/>
          </a:prstGeom>
        </p:spPr>
      </p:pic>
      <p:pic>
        <p:nvPicPr>
          <p:cNvPr id="26" name="图片 25" descr="图表, 直方图&#10;&#10;描述已自动生成">
            <a:extLst>
              <a:ext uri="{FF2B5EF4-FFF2-40B4-BE49-F238E27FC236}">
                <a16:creationId xmlns:a16="http://schemas.microsoft.com/office/drawing/2014/main" id="{2201FF2D-2429-2F44-66D4-D374D259FF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471" y="3842396"/>
            <a:ext cx="3579735" cy="1825664"/>
          </a:xfrm>
          <a:prstGeom prst="rect">
            <a:avLst/>
          </a:prstGeom>
        </p:spPr>
      </p:pic>
      <p:pic>
        <p:nvPicPr>
          <p:cNvPr id="28" name="图片 27" descr="图表, 条形图, 直方图&#10;&#10;描述已自动生成">
            <a:extLst>
              <a:ext uri="{FF2B5EF4-FFF2-40B4-BE49-F238E27FC236}">
                <a16:creationId xmlns:a16="http://schemas.microsoft.com/office/drawing/2014/main" id="{3205BA7C-4D35-B686-8500-47DD8763B5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44" y="3856575"/>
            <a:ext cx="3524127" cy="1797305"/>
          </a:xfrm>
          <a:prstGeom prst="rect">
            <a:avLst/>
          </a:prstGeom>
        </p:spPr>
      </p:pic>
      <p:pic>
        <p:nvPicPr>
          <p:cNvPr id="30" name="图片 29" descr="图表, 直方图&#10;&#10;描述已自动生成">
            <a:extLst>
              <a:ext uri="{FF2B5EF4-FFF2-40B4-BE49-F238E27FC236}">
                <a16:creationId xmlns:a16="http://schemas.microsoft.com/office/drawing/2014/main" id="{DA063869-0081-5E18-7384-D433FC3FDC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356" y="3845246"/>
            <a:ext cx="3642414" cy="1864916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SGD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A881B0B-E077-0293-7666-FA4B87D21A46}"/>
              </a:ext>
            </a:extLst>
          </p:cNvPr>
          <p:cNvSpPr txBox="1"/>
          <p:nvPr/>
        </p:nvSpPr>
        <p:spPr>
          <a:xfrm>
            <a:off x="669924" y="5920575"/>
            <a:ext cx="7332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nvidia-smi</a:t>
            </a:r>
            <a:r>
              <a:rPr kumimoji="1" lang="en-US" altLang="zh-CN" sz="1400" dirty="0"/>
              <a:t> --query-</a:t>
            </a:r>
            <a:r>
              <a:rPr kumimoji="1" lang="en-US" altLang="zh-CN" sz="1400" dirty="0" err="1"/>
              <a:t>gpu</a:t>
            </a:r>
            <a:r>
              <a:rPr kumimoji="1" lang="en-US" altLang="zh-CN" sz="1400" dirty="0"/>
              <a:t>=</a:t>
            </a:r>
            <a:r>
              <a:rPr kumimoji="1" lang="en-US" altLang="zh-CN" sz="1400" dirty="0" err="1"/>
              <a:t>power.draw</a:t>
            </a:r>
            <a:r>
              <a:rPr kumimoji="1" lang="en-US" altLang="zh-CN" sz="1400" dirty="0"/>
              <a:t> --format=csv --loop-</a:t>
            </a:r>
            <a:r>
              <a:rPr kumimoji="1" lang="en-US" altLang="zh-CN" sz="1400" dirty="0" err="1"/>
              <a:t>ms</a:t>
            </a:r>
            <a:r>
              <a:rPr kumimoji="1" lang="en-US" altLang="zh-CN" sz="1400" dirty="0"/>
              <a:t>=1000 &gt; </a:t>
            </a:r>
            <a:r>
              <a:rPr kumimoji="1" lang="en-US" altLang="zh-CN" sz="1400" dirty="0" err="1"/>
              <a:t>gpu_power_usage.csv</a:t>
            </a:r>
            <a:endParaRPr kumimoji="1" lang="en-US" altLang="zh-CN" sz="14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9A5C9CF-048B-FA43-2694-8C30FA57ABE2}"/>
              </a:ext>
            </a:extLst>
          </p:cNvPr>
          <p:cNvSpPr txBox="1"/>
          <p:nvPr/>
        </p:nvSpPr>
        <p:spPr>
          <a:xfrm>
            <a:off x="8112642" y="2224067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an energy: 3932J/epoch 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83509572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903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Adam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55C90D4-768A-46BE-E733-78D4680AA4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1586088"/>
            <a:ext cx="4450596" cy="22886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02D68DD5-AEBC-7268-E074-EDEC819B7E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4" y="3973113"/>
            <a:ext cx="4431120" cy="22886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780B7F84-82F3-7EBA-829E-2D37AAD3C3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0322" y="1586088"/>
            <a:ext cx="4450596" cy="225407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49A9474-5BD4-0E27-6254-CBC153C2F682}"/>
              </a:ext>
            </a:extLst>
          </p:cNvPr>
          <p:cNvSpPr txBox="1"/>
          <p:nvPr/>
        </p:nvSpPr>
        <p:spPr>
          <a:xfrm>
            <a:off x="6673408" y="5009798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an energy: 4192J/epoch 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8901646"/>
      </p:ext>
    </p:extLst>
  </p:cSld>
  <p:clrMapOvr>
    <a:masterClrMapping/>
  </p:clrMapOvr>
  <p:transition>
    <p:check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49296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 comparison between SGD &amp; Adam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217877-0014-4B4F-A236-749DE2D17D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219" y="1487663"/>
            <a:ext cx="4847118" cy="2655181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9BB87B1A-C0B6-89AA-3EA6-C0657893BB36}"/>
              </a:ext>
            </a:extLst>
          </p:cNvPr>
          <p:cNvSpPr txBox="1"/>
          <p:nvPr/>
        </p:nvSpPr>
        <p:spPr>
          <a:xfrm>
            <a:off x="2216644" y="3998895"/>
            <a:ext cx="16802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GPU energy consumption </a:t>
            </a:r>
            <a:endParaRPr kumimoji="1" lang="zh-CN" altLang="en-US" sz="10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A750BCF-002C-FAFD-D348-5E1F75823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8899" y="1487663"/>
            <a:ext cx="5228450" cy="2676875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D654BA52-98AD-94A7-9D45-C31436C672CE}"/>
              </a:ext>
            </a:extLst>
          </p:cNvPr>
          <p:cNvSpPr txBox="1"/>
          <p:nvPr/>
        </p:nvSpPr>
        <p:spPr>
          <a:xfrm>
            <a:off x="7189115" y="4041427"/>
            <a:ext cx="28280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train acc, test acc, train loss of SGD and Adam</a:t>
            </a:r>
            <a:endParaRPr kumimoji="1" lang="zh-CN" altLang="en-US" sz="10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CC0BF7A4-B4E8-AFB6-08DC-7EFC266775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5875" y="4233693"/>
            <a:ext cx="4401806" cy="2462915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21F80A4-EC03-D68E-CCB5-619F9FB70EC1}"/>
              </a:ext>
            </a:extLst>
          </p:cNvPr>
          <p:cNvSpPr txBox="1"/>
          <p:nvPr/>
        </p:nvSpPr>
        <p:spPr>
          <a:xfrm>
            <a:off x="1468283" y="6557141"/>
            <a:ext cx="35060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Time consumption of each epoch between SGD and Adam</a:t>
            </a:r>
            <a:endParaRPr kumimoji="1" lang="zh-CN" altLang="en-US" sz="1000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AC14889A-7BC6-1BA1-AD0F-46DF0162E1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0048" y="4311218"/>
            <a:ext cx="4583980" cy="2378003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2687C42B-11CE-B2B5-6C54-5A62999DB75D}"/>
              </a:ext>
            </a:extLst>
          </p:cNvPr>
          <p:cNvSpPr txBox="1"/>
          <p:nvPr/>
        </p:nvSpPr>
        <p:spPr>
          <a:xfrm>
            <a:off x="6810806" y="6579748"/>
            <a:ext cx="35846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Energy consumption and time cost between SGD and Adam</a:t>
            </a:r>
            <a:endParaRPr kumimoji="1" lang="zh-CN" altLang="en-US" sz="1000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220A6896-97A3-E3F5-BDC4-233DCE8447C4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19068877"/>
      </p:ext>
    </p:extLst>
  </p:cSld>
  <p:clrMapOvr>
    <a:masterClrMapping/>
  </p:clrMapOvr>
  <p:transition>
    <p:check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5" name="Google Shape;64;p1" descr="徽标&#10;&#10;描述已自动生成">
            <a:extLst>
              <a:ext uri="{FF2B5EF4-FFF2-40B4-BE49-F238E27FC236}">
                <a16:creationId xmlns:a16="http://schemas.microsoft.com/office/drawing/2014/main" id="{703235E2-2357-08AF-E248-43B9909F7CB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7CD9048D-70E6-A84F-0870-D2A7D566EB9E}"/>
              </a:ext>
            </a:extLst>
          </p:cNvPr>
          <p:cNvSpPr txBox="1"/>
          <p:nvPr/>
        </p:nvSpPr>
        <p:spPr>
          <a:xfrm>
            <a:off x="1589900" y="4107607"/>
            <a:ext cx="27222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PS energy consumption in M1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2FB98EF-C337-4A1F-03E7-42F2120C4567}"/>
              </a:ext>
            </a:extLst>
          </p:cNvPr>
          <p:cNvSpPr txBox="1"/>
          <p:nvPr/>
        </p:nvSpPr>
        <p:spPr>
          <a:xfrm>
            <a:off x="6732272" y="4107606"/>
            <a:ext cx="41921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GPU energy consumption in Linux(with RTX 3060)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7050C0E-9554-1343-C1CB-A9D320849F4F}"/>
              </a:ext>
            </a:extLst>
          </p:cNvPr>
          <p:cNvSpPr txBox="1"/>
          <p:nvPr/>
        </p:nvSpPr>
        <p:spPr>
          <a:xfrm>
            <a:off x="948267" y="1230489"/>
            <a:ext cx="47371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Energy consumption between </a:t>
            </a:r>
            <a:r>
              <a:rPr kumimoji="1" lang="en-US" altLang="zh-CN" dirty="0" err="1"/>
              <a:t>mps</a:t>
            </a:r>
            <a:r>
              <a:rPr kumimoji="1" lang="en-US" altLang="zh-CN" dirty="0"/>
              <a:t> and GPU</a:t>
            </a:r>
            <a:endParaRPr kumimoji="1"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91C7C261-4F6A-E0DC-8A46-6068C33289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080" y="1618337"/>
            <a:ext cx="4819650" cy="248927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C066BA2F-8DEB-0693-7788-6FD1CA828A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0733" y="1599821"/>
            <a:ext cx="4819650" cy="2467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775148"/>
      </p:ext>
    </p:extLst>
  </p:cSld>
  <p:clrMapOvr>
    <a:masterClrMapping/>
  </p:clrMapOvr>
  <p:transition>
    <p:check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D05DA1-6AA6-B939-BE49-FD8F23D7A8EF}"/>
              </a:ext>
            </a:extLst>
          </p:cNvPr>
          <p:cNvSpPr txBox="1"/>
          <p:nvPr/>
        </p:nvSpPr>
        <p:spPr>
          <a:xfrm>
            <a:off x="669924" y="1162755"/>
            <a:ext cx="42226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Energy record between </a:t>
            </a:r>
            <a:r>
              <a:rPr kumimoji="1" lang="en-US" altLang="zh-CN" sz="1400" dirty="0" err="1"/>
              <a:t>codecarbon</a:t>
            </a:r>
            <a:r>
              <a:rPr kumimoji="1" lang="en-US" altLang="zh-CN" sz="1400" dirty="0"/>
              <a:t> and </a:t>
            </a:r>
            <a:r>
              <a:rPr kumimoji="1" lang="en-US" altLang="zh-CN" sz="1400" dirty="0" err="1"/>
              <a:t>nvidia-smi</a:t>
            </a:r>
            <a:endParaRPr kumimoji="1" lang="zh-CN" altLang="en-US" sz="1400" dirty="0"/>
          </a:p>
        </p:txBody>
      </p:sp>
      <p:pic>
        <p:nvPicPr>
          <p:cNvPr id="17" name="图片 16" descr="文本&#10;&#10;中度可信度描述已自动生成">
            <a:extLst>
              <a:ext uri="{FF2B5EF4-FFF2-40B4-BE49-F238E27FC236}">
                <a16:creationId xmlns:a16="http://schemas.microsoft.com/office/drawing/2014/main" id="{AD653676-5D5E-A7AE-5EA2-E7C6C3D6D4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613382"/>
            <a:ext cx="5629276" cy="1226894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437F88B9-F97C-9124-2BB3-091DBB167F4D}"/>
              </a:ext>
            </a:extLst>
          </p:cNvPr>
          <p:cNvSpPr txBox="1"/>
          <p:nvPr/>
        </p:nvSpPr>
        <p:spPr>
          <a:xfrm>
            <a:off x="4993781" y="2840276"/>
            <a:ext cx="16466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Codecarbon</a:t>
            </a:r>
            <a:r>
              <a:rPr kumimoji="1" lang="en-US" altLang="zh-CN" sz="1400" dirty="0"/>
              <a:t> result</a:t>
            </a: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65D9C1E2-4AAD-A5FB-1435-50D86BBC75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6933" y="1979179"/>
            <a:ext cx="5676900" cy="495300"/>
          </a:xfrm>
          <a:prstGeom prst="rect">
            <a:avLst/>
          </a:prstGeom>
        </p:spPr>
      </p:pic>
      <p:pic>
        <p:nvPicPr>
          <p:cNvPr id="21" name="图片 20" descr="图形用户界面, 文本&#10;&#10;描述已自动生成">
            <a:extLst>
              <a:ext uri="{FF2B5EF4-FFF2-40B4-BE49-F238E27FC236}">
                <a16:creationId xmlns:a16="http://schemas.microsoft.com/office/drawing/2014/main" id="{158D02E3-8365-9E6D-6F75-545A2688B1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483" y="3165238"/>
            <a:ext cx="4800600" cy="1473200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15B36903-4A9C-CBB8-8123-FBECD0601D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6933" y="3277393"/>
            <a:ext cx="4000500" cy="1333500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73F2286E-121F-61DA-FE72-DE091D91EA68}"/>
              </a:ext>
            </a:extLst>
          </p:cNvPr>
          <p:cNvSpPr txBox="1"/>
          <p:nvPr/>
        </p:nvSpPr>
        <p:spPr>
          <a:xfrm>
            <a:off x="5062710" y="4775141"/>
            <a:ext cx="15087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Nvidia-</a:t>
            </a:r>
            <a:r>
              <a:rPr kumimoji="1" lang="en-US" altLang="zh-CN" sz="1400" dirty="0" err="1"/>
              <a:t>smi</a:t>
            </a:r>
            <a:r>
              <a:rPr kumimoji="1" lang="en-US" altLang="zh-CN" sz="1400" dirty="0"/>
              <a:t> result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0C210331-AB00-0606-6ED1-AB852FF27E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7554" y="5359160"/>
            <a:ext cx="7919058" cy="781008"/>
          </a:xfrm>
          <a:prstGeom prst="rect">
            <a:avLst/>
          </a:prstGeom>
        </p:spPr>
      </p:pic>
      <p:pic>
        <p:nvPicPr>
          <p:cNvPr id="5" name="Google Shape;64;p1" descr="徽标&#10;&#10;描述已自动生成">
            <a:extLst>
              <a:ext uri="{FF2B5EF4-FFF2-40B4-BE49-F238E27FC236}">
                <a16:creationId xmlns:a16="http://schemas.microsoft.com/office/drawing/2014/main" id="{703235E2-2357-08AF-E248-43B9909F7CB6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09460597"/>
      </p:ext>
    </p:extLst>
  </p:cSld>
  <p:clrMapOvr>
    <a:masterClrMapping/>
  </p:clrMapOvr>
  <p:transition>
    <p:check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399</TotalTime>
  <Words>313</Words>
  <Application>Microsoft Macintosh PowerPoint</Application>
  <PresentationFormat>宽屏</PresentationFormat>
  <Paragraphs>75</Paragraphs>
  <Slides>13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9" baseType="lpstr">
      <vt:lpstr>宋体</vt:lpstr>
      <vt:lpstr>Arial</vt:lpstr>
      <vt:lpstr>Calibri</vt:lpstr>
      <vt:lpstr>主题5</vt:lpstr>
      <vt:lpstr>主题5</vt:lpstr>
      <vt:lpstr>think-cell Slide</vt:lpstr>
      <vt:lpstr>Analysis of the energy sustainability of Machine Learning algorithms</vt:lpstr>
      <vt:lpstr>Agenda</vt:lpstr>
      <vt:lpstr>Last time </vt:lpstr>
      <vt:lpstr>Agenda</vt:lpstr>
      <vt:lpstr>Simulation results</vt:lpstr>
      <vt:lpstr>Simulation results</vt:lpstr>
      <vt:lpstr>Simulation results</vt:lpstr>
      <vt:lpstr>Simulation results</vt:lpstr>
      <vt:lpstr>Simulation results</vt:lpstr>
      <vt:lpstr>Simulation results</vt:lpstr>
      <vt:lpstr>Agenda</vt:lpstr>
      <vt:lpstr>Next step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80</cp:revision>
  <cp:lastPrinted>2018-09-29T16:00:00Z</cp:lastPrinted>
  <dcterms:created xsi:type="dcterms:W3CDTF">2018-09-29T16:00:00Z</dcterms:created>
  <dcterms:modified xsi:type="dcterms:W3CDTF">2023-11-24T23:2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